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FB70CA-C69D-417F-803F-E19B3F76BCF8}" v="54" dt="2023-03-03T23:51:30.4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03" d="100"/>
          <a:sy n="103" d="100"/>
        </p:scale>
        <p:origin x="150" y="648"/>
      </p:cViewPr>
      <p:guideLst>
        <p:guide orient="horz" pos="648"/>
        <p:guide pos="3576"/>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36FB70CA-C69D-417F-803F-E19B3F76BCF8}"/>
    <pc:docChg chg="addSld delSld modSld">
      <pc:chgData name="Roberto Gallardo" userId="49a044883f185952" providerId="LiveId" clId="{36FB70CA-C69D-417F-803F-E19B3F76BCF8}" dt="2023-03-03T23:51:40.838" v="347" actId="1036"/>
      <pc:docMkLst>
        <pc:docMk/>
      </pc:docMkLst>
      <pc:sldChg chg="del">
        <pc:chgData name="Roberto Gallardo" userId="49a044883f185952" providerId="LiveId" clId="{36FB70CA-C69D-417F-803F-E19B3F76BCF8}" dt="2023-02-25T14:45:32.576" v="4" actId="47"/>
        <pc:sldMkLst>
          <pc:docMk/>
          <pc:sldMk cId="1175010214" sldId="261"/>
        </pc:sldMkLst>
      </pc:sldChg>
      <pc:sldChg chg="addSp modSp mod">
        <pc:chgData name="Roberto Gallardo" userId="49a044883f185952" providerId="LiveId" clId="{36FB70CA-C69D-417F-803F-E19B3F76BCF8}" dt="2023-03-03T23:45:30.102" v="11" actId="1076"/>
        <pc:sldMkLst>
          <pc:docMk/>
          <pc:sldMk cId="1418533539" sldId="271"/>
        </pc:sldMkLst>
        <pc:picChg chg="add mod">
          <ac:chgData name="Roberto Gallardo" userId="49a044883f185952" providerId="LiveId" clId="{36FB70CA-C69D-417F-803F-E19B3F76BCF8}" dt="2023-03-03T23:45:30.102" v="11" actId="1076"/>
          <ac:picMkLst>
            <pc:docMk/>
            <pc:sldMk cId="1418533539" sldId="271"/>
            <ac:picMk id="6" creationId="{17DC9C29-3FDE-3019-44B3-ED0AB975199F}"/>
          </ac:picMkLst>
        </pc:picChg>
      </pc:sldChg>
      <pc:sldChg chg="addSp modSp mod">
        <pc:chgData name="Roberto Gallardo" userId="49a044883f185952" providerId="LiveId" clId="{36FB70CA-C69D-417F-803F-E19B3F76BCF8}" dt="2023-03-03T23:48:07.023" v="101" actId="1036"/>
        <pc:sldMkLst>
          <pc:docMk/>
          <pc:sldMk cId="2124848710" sldId="281"/>
        </pc:sldMkLst>
        <pc:picChg chg="add mod">
          <ac:chgData name="Roberto Gallardo" userId="49a044883f185952" providerId="LiveId" clId="{36FB70CA-C69D-417F-803F-E19B3F76BCF8}" dt="2023-03-03T23:48:07.023" v="101" actId="1036"/>
          <ac:picMkLst>
            <pc:docMk/>
            <pc:sldMk cId="2124848710" sldId="281"/>
            <ac:picMk id="6" creationId="{F789964A-8AA8-9383-D88C-49D542EF06BC}"/>
          </ac:picMkLst>
        </pc:picChg>
      </pc:sldChg>
      <pc:sldChg chg="addSp modSp mod">
        <pc:chgData name="Roberto Gallardo" userId="49a044883f185952" providerId="LiveId" clId="{36FB70CA-C69D-417F-803F-E19B3F76BCF8}" dt="2023-03-03T23:48:25.065" v="121" actId="1036"/>
        <pc:sldMkLst>
          <pc:docMk/>
          <pc:sldMk cId="2028175529" sldId="282"/>
        </pc:sldMkLst>
        <pc:picChg chg="add mod">
          <ac:chgData name="Roberto Gallardo" userId="49a044883f185952" providerId="LiveId" clId="{36FB70CA-C69D-417F-803F-E19B3F76BCF8}" dt="2023-03-03T23:48:25.065" v="121" actId="1036"/>
          <ac:picMkLst>
            <pc:docMk/>
            <pc:sldMk cId="2028175529" sldId="282"/>
            <ac:picMk id="7" creationId="{B901C7DD-19C3-68EB-E953-3587D3075D57}"/>
          </ac:picMkLst>
        </pc:picChg>
      </pc:sldChg>
      <pc:sldChg chg="addSp modSp mod">
        <pc:chgData name="Roberto Gallardo" userId="49a044883f185952" providerId="LiveId" clId="{36FB70CA-C69D-417F-803F-E19B3F76BCF8}" dt="2023-03-03T23:48:41.798" v="141" actId="1035"/>
        <pc:sldMkLst>
          <pc:docMk/>
          <pc:sldMk cId="1326517747" sldId="283"/>
        </pc:sldMkLst>
        <pc:picChg chg="add mod">
          <ac:chgData name="Roberto Gallardo" userId="49a044883f185952" providerId="LiveId" clId="{36FB70CA-C69D-417F-803F-E19B3F76BCF8}" dt="2023-03-03T23:48:41.798" v="141" actId="1035"/>
          <ac:picMkLst>
            <pc:docMk/>
            <pc:sldMk cId="1326517747" sldId="283"/>
            <ac:picMk id="7" creationId="{D76E17BD-778A-6741-04D6-F0E65959916B}"/>
          </ac:picMkLst>
        </pc:picChg>
      </pc:sldChg>
      <pc:sldChg chg="addSp modSp mod">
        <pc:chgData name="Roberto Gallardo" userId="49a044883f185952" providerId="LiveId" clId="{36FB70CA-C69D-417F-803F-E19B3F76BCF8}" dt="2023-03-03T23:49:02.870" v="162" actId="1036"/>
        <pc:sldMkLst>
          <pc:docMk/>
          <pc:sldMk cId="783739251" sldId="284"/>
        </pc:sldMkLst>
        <pc:picChg chg="add mod">
          <ac:chgData name="Roberto Gallardo" userId="49a044883f185952" providerId="LiveId" clId="{36FB70CA-C69D-417F-803F-E19B3F76BCF8}" dt="2023-03-03T23:49:02.870" v="162" actId="1036"/>
          <ac:picMkLst>
            <pc:docMk/>
            <pc:sldMk cId="783739251" sldId="284"/>
            <ac:picMk id="7" creationId="{4C74E355-F0D6-05AD-20D1-311DC4347C01}"/>
          </ac:picMkLst>
        </pc:picChg>
      </pc:sldChg>
      <pc:sldChg chg="addSp modSp mod">
        <pc:chgData name="Roberto Gallardo" userId="49a044883f185952" providerId="LiveId" clId="{36FB70CA-C69D-417F-803F-E19B3F76BCF8}" dt="2023-03-03T23:49:23.510" v="186" actId="1036"/>
        <pc:sldMkLst>
          <pc:docMk/>
          <pc:sldMk cId="1676122233" sldId="285"/>
        </pc:sldMkLst>
        <pc:picChg chg="add mod">
          <ac:chgData name="Roberto Gallardo" userId="49a044883f185952" providerId="LiveId" clId="{36FB70CA-C69D-417F-803F-E19B3F76BCF8}" dt="2023-03-03T23:49:23.510" v="186" actId="1036"/>
          <ac:picMkLst>
            <pc:docMk/>
            <pc:sldMk cId="1676122233" sldId="285"/>
            <ac:picMk id="7" creationId="{CA243FDA-0075-E371-1BC6-E94B2D7514AF}"/>
          </ac:picMkLst>
        </pc:picChg>
      </pc:sldChg>
      <pc:sldChg chg="addSp modSp mod">
        <pc:chgData name="Roberto Gallardo" userId="49a044883f185952" providerId="LiveId" clId="{36FB70CA-C69D-417F-803F-E19B3F76BCF8}" dt="2023-03-03T23:49:41.590" v="204" actId="1036"/>
        <pc:sldMkLst>
          <pc:docMk/>
          <pc:sldMk cId="3100398757" sldId="286"/>
        </pc:sldMkLst>
        <pc:picChg chg="add mod">
          <ac:chgData name="Roberto Gallardo" userId="49a044883f185952" providerId="LiveId" clId="{36FB70CA-C69D-417F-803F-E19B3F76BCF8}" dt="2023-03-03T23:49:41.590" v="204" actId="1036"/>
          <ac:picMkLst>
            <pc:docMk/>
            <pc:sldMk cId="3100398757" sldId="286"/>
            <ac:picMk id="7" creationId="{4B17B284-A780-8F75-E719-DC71B7461DC2}"/>
          </ac:picMkLst>
        </pc:picChg>
      </pc:sldChg>
      <pc:sldChg chg="addSp modSp mod">
        <pc:chgData name="Roberto Gallardo" userId="49a044883f185952" providerId="LiveId" clId="{36FB70CA-C69D-417F-803F-E19B3F76BCF8}" dt="2023-03-03T23:49:58.411" v="226" actId="1035"/>
        <pc:sldMkLst>
          <pc:docMk/>
          <pc:sldMk cId="1546475425" sldId="287"/>
        </pc:sldMkLst>
        <pc:picChg chg="add mod">
          <ac:chgData name="Roberto Gallardo" userId="49a044883f185952" providerId="LiveId" clId="{36FB70CA-C69D-417F-803F-E19B3F76BCF8}" dt="2023-03-03T23:49:58.411" v="226" actId="1035"/>
          <ac:picMkLst>
            <pc:docMk/>
            <pc:sldMk cId="1546475425" sldId="287"/>
            <ac:picMk id="7" creationId="{9DD7605F-C42A-C402-BDD7-58B35BD65E8C}"/>
          </ac:picMkLst>
        </pc:picChg>
      </pc:sldChg>
      <pc:sldChg chg="addSp modSp mod">
        <pc:chgData name="Roberto Gallardo" userId="49a044883f185952" providerId="LiveId" clId="{36FB70CA-C69D-417F-803F-E19B3F76BCF8}" dt="2023-03-03T23:50:28.458" v="267" actId="1035"/>
        <pc:sldMkLst>
          <pc:docMk/>
          <pc:sldMk cId="1380517306" sldId="288"/>
        </pc:sldMkLst>
        <pc:picChg chg="add mod">
          <ac:chgData name="Roberto Gallardo" userId="49a044883f185952" providerId="LiveId" clId="{36FB70CA-C69D-417F-803F-E19B3F76BCF8}" dt="2023-03-03T23:50:28.458" v="267" actId="1035"/>
          <ac:picMkLst>
            <pc:docMk/>
            <pc:sldMk cId="1380517306" sldId="288"/>
            <ac:picMk id="7" creationId="{29CECF17-CDFD-D549-4676-3C075893DB80}"/>
          </ac:picMkLst>
        </pc:picChg>
      </pc:sldChg>
      <pc:sldChg chg="addSp modSp mod">
        <pc:chgData name="Roberto Gallardo" userId="49a044883f185952" providerId="LiveId" clId="{36FB70CA-C69D-417F-803F-E19B3F76BCF8}" dt="2023-03-03T23:50:44.967" v="286" actId="1036"/>
        <pc:sldMkLst>
          <pc:docMk/>
          <pc:sldMk cId="1388671151" sldId="289"/>
        </pc:sldMkLst>
        <pc:picChg chg="add mod">
          <ac:chgData name="Roberto Gallardo" userId="49a044883f185952" providerId="LiveId" clId="{36FB70CA-C69D-417F-803F-E19B3F76BCF8}" dt="2023-03-03T23:50:44.967" v="286" actId="1036"/>
          <ac:picMkLst>
            <pc:docMk/>
            <pc:sldMk cId="1388671151" sldId="289"/>
            <ac:picMk id="7" creationId="{C6577711-B966-8AE0-2A97-4F2EB80F7034}"/>
          </ac:picMkLst>
        </pc:picChg>
      </pc:sldChg>
      <pc:sldChg chg="addSp modSp mod">
        <pc:chgData name="Roberto Gallardo" userId="49a044883f185952" providerId="LiveId" clId="{36FB70CA-C69D-417F-803F-E19B3F76BCF8}" dt="2023-03-03T23:51:23.344" v="326" actId="1036"/>
        <pc:sldMkLst>
          <pc:docMk/>
          <pc:sldMk cId="2355376039" sldId="290"/>
        </pc:sldMkLst>
        <pc:picChg chg="add mod">
          <ac:chgData name="Roberto Gallardo" userId="49a044883f185952" providerId="LiveId" clId="{36FB70CA-C69D-417F-803F-E19B3F76BCF8}" dt="2023-03-03T23:51:23.344" v="326" actId="1036"/>
          <ac:picMkLst>
            <pc:docMk/>
            <pc:sldMk cId="2355376039" sldId="290"/>
            <ac:picMk id="8" creationId="{FD324E9F-7E02-37E3-E21E-C757848A6064}"/>
          </ac:picMkLst>
        </pc:picChg>
      </pc:sldChg>
      <pc:sldChg chg="addSp modSp mod">
        <pc:chgData name="Roberto Gallardo" userId="49a044883f185952" providerId="LiveId" clId="{36FB70CA-C69D-417F-803F-E19B3F76BCF8}" dt="2023-03-03T23:51:40.838" v="347" actId="1036"/>
        <pc:sldMkLst>
          <pc:docMk/>
          <pc:sldMk cId="3757257295" sldId="291"/>
        </pc:sldMkLst>
        <pc:picChg chg="add mod">
          <ac:chgData name="Roberto Gallardo" userId="49a044883f185952" providerId="LiveId" clId="{36FB70CA-C69D-417F-803F-E19B3F76BCF8}" dt="2023-03-03T23:51:40.838" v="347" actId="1036"/>
          <ac:picMkLst>
            <pc:docMk/>
            <pc:sldMk cId="3757257295" sldId="291"/>
            <ac:picMk id="8" creationId="{EDD75E2C-676F-60F2-1839-939B30A7BB84}"/>
          </ac:picMkLst>
        </pc:picChg>
      </pc:sldChg>
      <pc:sldChg chg="addSp modSp mod">
        <pc:chgData name="Roberto Gallardo" userId="49a044883f185952" providerId="LiveId" clId="{36FB70CA-C69D-417F-803F-E19B3F76BCF8}" dt="2023-03-03T23:50:13.223" v="246" actId="1036"/>
        <pc:sldMkLst>
          <pc:docMk/>
          <pc:sldMk cId="1259856727" sldId="292"/>
        </pc:sldMkLst>
        <pc:picChg chg="add mod">
          <ac:chgData name="Roberto Gallardo" userId="49a044883f185952" providerId="LiveId" clId="{36FB70CA-C69D-417F-803F-E19B3F76BCF8}" dt="2023-03-03T23:50:13.223" v="246" actId="1036"/>
          <ac:picMkLst>
            <pc:docMk/>
            <pc:sldMk cId="1259856727" sldId="292"/>
            <ac:picMk id="7" creationId="{EBD94388-ABEB-F6F3-7FD1-76B712E23E85}"/>
          </ac:picMkLst>
        </pc:picChg>
      </pc:sldChg>
      <pc:sldChg chg="addSp modSp mod">
        <pc:chgData name="Roberto Gallardo" userId="49a044883f185952" providerId="LiveId" clId="{36FB70CA-C69D-417F-803F-E19B3F76BCF8}" dt="2023-03-03T23:47:49.662" v="80" actId="1036"/>
        <pc:sldMkLst>
          <pc:docMk/>
          <pc:sldMk cId="3324519687" sldId="293"/>
        </pc:sldMkLst>
        <pc:picChg chg="add mod">
          <ac:chgData name="Roberto Gallardo" userId="49a044883f185952" providerId="LiveId" clId="{36FB70CA-C69D-417F-803F-E19B3F76BCF8}" dt="2023-03-03T23:47:49.662" v="80" actId="1036"/>
          <ac:picMkLst>
            <pc:docMk/>
            <pc:sldMk cId="3324519687" sldId="293"/>
            <ac:picMk id="7" creationId="{281FA5A7-9B7C-9C22-7E09-EA598CCC005B}"/>
          </ac:picMkLst>
        </pc:picChg>
      </pc:sldChg>
      <pc:sldChg chg="addSp modSp mod">
        <pc:chgData name="Roberto Gallardo" userId="49a044883f185952" providerId="LiveId" clId="{36FB70CA-C69D-417F-803F-E19B3F76BCF8}" dt="2023-03-03T23:47:07.868" v="42" actId="1076"/>
        <pc:sldMkLst>
          <pc:docMk/>
          <pc:sldMk cId="3256182630" sldId="295"/>
        </pc:sldMkLst>
        <pc:picChg chg="add mod">
          <ac:chgData name="Roberto Gallardo" userId="49a044883f185952" providerId="LiveId" clId="{36FB70CA-C69D-417F-803F-E19B3F76BCF8}" dt="2023-03-03T23:47:07.868" v="42" actId="1076"/>
          <ac:picMkLst>
            <pc:docMk/>
            <pc:sldMk cId="3256182630" sldId="295"/>
            <ac:picMk id="7" creationId="{D5CA400E-87DB-C423-37FD-0A36221A8BF5}"/>
          </ac:picMkLst>
        </pc:picChg>
      </pc:sldChg>
      <pc:sldChg chg="addSp modSp mod">
        <pc:chgData name="Roberto Gallardo" userId="49a044883f185952" providerId="LiveId" clId="{36FB70CA-C69D-417F-803F-E19B3F76BCF8}" dt="2023-03-03T23:47:30.767" v="59" actId="1036"/>
        <pc:sldMkLst>
          <pc:docMk/>
          <pc:sldMk cId="4057156843" sldId="296"/>
        </pc:sldMkLst>
        <pc:picChg chg="add mod">
          <ac:chgData name="Roberto Gallardo" userId="49a044883f185952" providerId="LiveId" clId="{36FB70CA-C69D-417F-803F-E19B3F76BCF8}" dt="2023-03-03T23:47:30.767" v="59" actId="1036"/>
          <ac:picMkLst>
            <pc:docMk/>
            <pc:sldMk cId="4057156843" sldId="296"/>
            <ac:picMk id="7" creationId="{2BA202E2-D774-7E97-CFC2-527A40965197}"/>
          </ac:picMkLst>
        </pc:picChg>
      </pc:sldChg>
      <pc:sldChg chg="addSp modSp mod">
        <pc:chgData name="Roberto Gallardo" userId="49a044883f185952" providerId="LiveId" clId="{36FB70CA-C69D-417F-803F-E19B3F76BCF8}" dt="2023-03-03T23:46:01.723" v="25" actId="1076"/>
        <pc:sldMkLst>
          <pc:docMk/>
          <pc:sldMk cId="2080110827" sldId="297"/>
        </pc:sldMkLst>
        <pc:picChg chg="add mod">
          <ac:chgData name="Roberto Gallardo" userId="49a044883f185952" providerId="LiveId" clId="{36FB70CA-C69D-417F-803F-E19B3F76BCF8}" dt="2023-03-03T23:46:01.723" v="25" actId="1076"/>
          <ac:picMkLst>
            <pc:docMk/>
            <pc:sldMk cId="2080110827" sldId="297"/>
            <ac:picMk id="6" creationId="{10380021-5C45-FF86-6183-105E483E009A}"/>
          </ac:picMkLst>
        </pc:picChg>
      </pc:sldChg>
      <pc:sldChg chg="addSp modSp mod">
        <pc:chgData name="Roberto Gallardo" userId="49a044883f185952" providerId="LiveId" clId="{36FB70CA-C69D-417F-803F-E19B3F76BCF8}" dt="2023-03-03T23:45:48.412" v="18" actId="1076"/>
        <pc:sldMkLst>
          <pc:docMk/>
          <pc:sldMk cId="1532666867" sldId="298"/>
        </pc:sldMkLst>
        <pc:picChg chg="add mod">
          <ac:chgData name="Roberto Gallardo" userId="49a044883f185952" providerId="LiveId" clId="{36FB70CA-C69D-417F-803F-E19B3F76BCF8}" dt="2023-03-03T23:45:48.412" v="18" actId="1076"/>
          <ac:picMkLst>
            <pc:docMk/>
            <pc:sldMk cId="1532666867" sldId="298"/>
            <ac:picMk id="6" creationId="{ED2951C4-4D0E-39D2-55A9-B5C4408F9B03}"/>
          </ac:picMkLst>
        </pc:picChg>
      </pc:sldChg>
      <pc:sldChg chg="addSp modSp mod">
        <pc:chgData name="Roberto Gallardo" userId="49a044883f185952" providerId="LiveId" clId="{36FB70CA-C69D-417F-803F-E19B3F76BCF8}" dt="2023-03-03T23:51:05.424" v="307" actId="1036"/>
        <pc:sldMkLst>
          <pc:docMk/>
          <pc:sldMk cId="1951376777" sldId="299"/>
        </pc:sldMkLst>
        <pc:picChg chg="add mod">
          <ac:chgData name="Roberto Gallardo" userId="49a044883f185952" providerId="LiveId" clId="{36FB70CA-C69D-417F-803F-E19B3F76BCF8}" dt="2023-03-03T23:51:05.424" v="307" actId="1036"/>
          <ac:picMkLst>
            <pc:docMk/>
            <pc:sldMk cId="1951376777" sldId="299"/>
            <ac:picMk id="7" creationId="{83604DEE-B73F-5E30-A3FE-EBA3E1F4D7FF}"/>
          </ac:picMkLst>
        </pc:picChg>
      </pc:sldChg>
      <pc:sldChg chg="modSp mod">
        <pc:chgData name="Roberto Gallardo" userId="49a044883f185952" providerId="LiveId" clId="{36FB70CA-C69D-417F-803F-E19B3F76BCF8}" dt="2023-02-25T13:20:44.309" v="2" actId="20577"/>
        <pc:sldMkLst>
          <pc:docMk/>
          <pc:sldMk cId="1515423683" sldId="302"/>
        </pc:sldMkLst>
        <pc:spChg chg="mod">
          <ac:chgData name="Roberto Gallardo" userId="49a044883f185952" providerId="LiveId" clId="{36FB70CA-C69D-417F-803F-E19B3F76BCF8}" dt="2023-02-25T13:20:44.309" v="2" actId="20577"/>
          <ac:spMkLst>
            <pc:docMk/>
            <pc:sldMk cId="1515423683" sldId="302"/>
            <ac:spMk id="5" creationId="{6AE302AC-8931-4144-BE52-DD1A8BA82462}"/>
          </ac:spMkLst>
        </pc:spChg>
        <pc:spChg chg="mod">
          <ac:chgData name="Roberto Gallardo" userId="49a044883f185952" providerId="LiveId" clId="{36FB70CA-C69D-417F-803F-E19B3F76BCF8}" dt="2023-02-25T13:20:41.280" v="1" actId="20577"/>
          <ac:spMkLst>
            <pc:docMk/>
            <pc:sldMk cId="1515423683" sldId="302"/>
            <ac:spMk id="9" creationId="{E362A98F-7DCD-C67C-23CE-1BE182A133B4}"/>
          </ac:spMkLst>
        </pc:spChg>
      </pc:sldChg>
      <pc:sldChg chg="del">
        <pc:chgData name="Roberto Gallardo" userId="49a044883f185952" providerId="LiveId" clId="{36FB70CA-C69D-417F-803F-E19B3F76BCF8}" dt="2023-02-25T14:45:32.576" v="4" actId="47"/>
        <pc:sldMkLst>
          <pc:docMk/>
          <pc:sldMk cId="2841628872" sldId="303"/>
        </pc:sldMkLst>
      </pc:sldChg>
      <pc:sldChg chg="del">
        <pc:chgData name="Roberto Gallardo" userId="49a044883f185952" providerId="LiveId" clId="{36FB70CA-C69D-417F-803F-E19B3F76BCF8}" dt="2023-02-25T14:45:32.576" v="4" actId="47"/>
        <pc:sldMkLst>
          <pc:docMk/>
          <pc:sldMk cId="3084076302" sldId="304"/>
        </pc:sldMkLst>
      </pc:sldChg>
      <pc:sldChg chg="del">
        <pc:chgData name="Roberto Gallardo" userId="49a044883f185952" providerId="LiveId" clId="{36FB70CA-C69D-417F-803F-E19B3F76BCF8}" dt="2023-02-25T14:45:32.576" v="4" actId="47"/>
        <pc:sldMkLst>
          <pc:docMk/>
          <pc:sldMk cId="473712435" sldId="305"/>
        </pc:sldMkLst>
      </pc:sldChg>
      <pc:sldChg chg="add">
        <pc:chgData name="Roberto Gallardo" userId="49a044883f185952" providerId="LiveId" clId="{36FB70CA-C69D-417F-803F-E19B3F76BCF8}" dt="2023-02-25T14:45:29.294" v="3"/>
        <pc:sldMkLst>
          <pc:docMk/>
          <pc:sldMk cId="3734942054" sldId="307"/>
        </pc:sldMkLst>
      </pc:sldChg>
      <pc:sldChg chg="add">
        <pc:chgData name="Roberto Gallardo" userId="49a044883f185952" providerId="LiveId" clId="{36FB70CA-C69D-417F-803F-E19B3F76BCF8}" dt="2023-02-25T14:45:29.294" v="3"/>
        <pc:sldMkLst>
          <pc:docMk/>
          <pc:sldMk cId="1808134814" sldId="308"/>
        </pc:sldMkLst>
      </pc:sldChg>
      <pc:sldChg chg="add">
        <pc:chgData name="Roberto Gallardo" userId="49a044883f185952" providerId="LiveId" clId="{36FB70CA-C69D-417F-803F-E19B3F76BCF8}" dt="2023-02-25T14:45:29.294" v="3"/>
        <pc:sldMkLst>
          <pc:docMk/>
          <pc:sldMk cId="1552587687" sldId="309"/>
        </pc:sldMkLst>
      </pc:sldChg>
      <pc:sldChg chg="add">
        <pc:chgData name="Roberto Gallardo" userId="49a044883f185952" providerId="LiveId" clId="{36FB70CA-C69D-417F-803F-E19B3F76BCF8}" dt="2023-02-25T14:45:29.294" v="3"/>
        <pc:sldMkLst>
          <pc:docMk/>
          <pc:sldMk cId="2318043034"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Columbus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55083B2-8DF4-A20B-A531-8BE69AD85C27}"/>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552587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BAC2497E-19EC-D76C-1E3F-78368D6BD7BF}"/>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23180430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17DC9C29-3FDE-3019-44B3-ED0AB97519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7585" y="1028700"/>
            <a:ext cx="7580630" cy="5360697"/>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ED2951C4-4D0E-39D2-55A9-B5C4408F9B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691" y="1028700"/>
            <a:ext cx="7602618"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10380021-5C45-FF86-6183-105E483E00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CF36338C-2725-4DBB-C725-0458B4A90F59}"/>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D5CA400E-87DB-C423-37FD-0A36221A8B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0074" y="1428523"/>
            <a:ext cx="6362701" cy="449943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E4161847-4608-81D3-51B8-D3925D6388A9}"/>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 map&#10;&#10;Description automatically generated">
            <a:extLst>
              <a:ext uri="{FF2B5EF4-FFF2-40B4-BE49-F238E27FC236}">
                <a16:creationId xmlns:a16="http://schemas.microsoft.com/office/drawing/2014/main" id="{2BA202E2-D774-7E97-CFC2-527A409651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899" y="1437628"/>
            <a:ext cx="6365875" cy="4501674"/>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E637704E-8DA6-5391-99D4-21D2A0DE5A01}"/>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281FA5A7-9B7C-9C22-7E09-EA598CCC0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93"/>
            <a:ext cx="6362700" cy="4499428"/>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88DD165-9910-D301-0F65-A8A22AC74A7A}"/>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A picture containing schematic&#10;&#10;Description automatically generated">
            <a:extLst>
              <a:ext uri="{FF2B5EF4-FFF2-40B4-BE49-F238E27FC236}">
                <a16:creationId xmlns:a16="http://schemas.microsoft.com/office/drawing/2014/main" id="{F789964A-8AA8-9383-D88C-49D542EF06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93"/>
            <a:ext cx="6362700" cy="4499428"/>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6626D692-FA7D-E9DD-A750-97C439E80E2B}"/>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B901C7DD-19C3-68EB-E953-3587D3075D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90"/>
            <a:ext cx="6362700" cy="449942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3E98CBCC-03EB-B0EE-2F0A-64433EDE06E9}"/>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Schematic&#10;&#10;Description automatically generated with medium confidence">
            <a:extLst>
              <a:ext uri="{FF2B5EF4-FFF2-40B4-BE49-F238E27FC236}">
                <a16:creationId xmlns:a16="http://schemas.microsoft.com/office/drawing/2014/main" id="{D76E17BD-778A-6741-04D6-F0E6595991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89"/>
            <a:ext cx="6362700" cy="449942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FD7902C0-94A1-EFCB-226D-DC285F09CD09}"/>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4C74E355-F0D6-05AD-20D1-311DC4347C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92"/>
            <a:ext cx="6362701" cy="4499430"/>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A3A3EE54-A430-7118-FB93-129AD0FA40C9}"/>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Schematic, map&#10;&#10;Description automatically generated">
            <a:extLst>
              <a:ext uri="{FF2B5EF4-FFF2-40B4-BE49-F238E27FC236}">
                <a16:creationId xmlns:a16="http://schemas.microsoft.com/office/drawing/2014/main" id="{CA243FDA-0075-E371-1BC6-E94B2D7514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92"/>
            <a:ext cx="6362700" cy="4499429"/>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1CA6BD80-1366-98EA-1045-5DF31AE51FC8}"/>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 map&#10;&#10;Description automatically generated">
            <a:extLst>
              <a:ext uri="{FF2B5EF4-FFF2-40B4-BE49-F238E27FC236}">
                <a16:creationId xmlns:a16="http://schemas.microsoft.com/office/drawing/2014/main" id="{4B17B284-A780-8F75-E719-DC71B7461D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91"/>
            <a:ext cx="6362700" cy="4499429"/>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5E0324B8-8D24-ECB8-2CF6-A98324F3096F}"/>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DD7605F-C42A-C402-BDD7-58B35BD65E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362"/>
            <a:ext cx="6362700" cy="4499429"/>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4F463682-F37F-0213-A159-E85DD46C0C69}"/>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BD94388-ABEB-F6F3-7FD1-76B712E23E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362"/>
            <a:ext cx="6361381" cy="4498496"/>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A164F86A-BB55-AEAB-48A7-A2B66D0ED3EE}"/>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29CECF17-CDFD-D549-4676-3C075893DB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89"/>
            <a:ext cx="6362700" cy="4499429"/>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1E8F111A-499A-8AAE-BDF1-95BCC003F34B}"/>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schematic&#10;&#10;Description automatically generated">
            <a:extLst>
              <a:ext uri="{FF2B5EF4-FFF2-40B4-BE49-F238E27FC236}">
                <a16:creationId xmlns:a16="http://schemas.microsoft.com/office/drawing/2014/main" id="{C6577711-B966-8AE0-2A97-4F2EB80F70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91"/>
            <a:ext cx="6362700" cy="4499428"/>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1A47BEB0-9B46-48C5-3946-E7612CD41CFE}"/>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map&#10;&#10;Description automatically generated">
            <a:extLst>
              <a:ext uri="{FF2B5EF4-FFF2-40B4-BE49-F238E27FC236}">
                <a16:creationId xmlns:a16="http://schemas.microsoft.com/office/drawing/2014/main" id="{83604DEE-B73F-5E30-A3FE-EBA3E1F4D7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9334"/>
            <a:ext cx="6362700" cy="4499429"/>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6F125457-C07A-103B-8423-61F560CD6B39}"/>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Schematic&#10;&#10;Description automatically generated">
            <a:extLst>
              <a:ext uri="{FF2B5EF4-FFF2-40B4-BE49-F238E27FC236}">
                <a16:creationId xmlns:a16="http://schemas.microsoft.com/office/drawing/2014/main" id="{FD324E9F-7E02-37E3-E21E-C757848A60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91"/>
            <a:ext cx="6362700" cy="4499429"/>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41592CE8-AFC6-E3ED-03B8-E5A9BA5446BC}"/>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E49B5F39-3F51-E34D-B156-F0FB9288B34E}"/>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Schematic&#10;&#10;Description automatically generated with medium confidence">
            <a:extLst>
              <a:ext uri="{FF2B5EF4-FFF2-40B4-BE49-F238E27FC236}">
                <a16:creationId xmlns:a16="http://schemas.microsoft.com/office/drawing/2014/main" id="{EDD75E2C-676F-60F2-1839-939B30A7BB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2356"/>
            <a:ext cx="6362701" cy="4499429"/>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DB74E700-D8CD-F1CA-DE35-9EB791A4F50F}"/>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B678E3D-53FA-FE67-529B-6645032B8A87}"/>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1C1F2C-5E07-4505-28D4-C2DE810C6DDE}"/>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47844" y="2199582"/>
            <a:ext cx="1198148" cy="1996363"/>
            <a:chOff x="8052264" y="2649225"/>
            <a:chExt cx="1198148" cy="1996363"/>
          </a:xfrm>
        </p:grpSpPr>
        <p:sp>
          <p:nvSpPr>
            <p:cNvPr id="21" name="TextBox 20">
              <a:extLst>
                <a:ext uri="{FF2B5EF4-FFF2-40B4-BE49-F238E27FC236}">
                  <a16:creationId xmlns:a16="http://schemas.microsoft.com/office/drawing/2014/main" id="{9A68ADBE-AECC-EE60-7E94-3675B33E08AE}"/>
                </a:ext>
              </a:extLst>
            </p:cNvPr>
            <p:cNvSpPr txBox="1"/>
            <p:nvPr/>
          </p:nvSpPr>
          <p:spPr>
            <a:xfrm>
              <a:off x="8052264" y="321606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8</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464558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6492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8639518" y="2649225"/>
              <a:ext cx="0" cy="4769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51338" y="4108620"/>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54225" y="2572826"/>
            <a:ext cx="1198148" cy="2357388"/>
            <a:chOff x="10495270" y="3752937"/>
            <a:chExt cx="1198148" cy="2357388"/>
          </a:xfrm>
        </p:grpSpPr>
        <p:sp>
          <p:nvSpPr>
            <p:cNvPr id="11" name="TextBox 10">
              <a:extLst>
                <a:ext uri="{FF2B5EF4-FFF2-40B4-BE49-F238E27FC236}">
                  <a16:creationId xmlns:a16="http://schemas.microsoft.com/office/drawing/2014/main" id="{09F5AE19-B4E3-7788-F25F-CDA80D596DAF}"/>
                </a:ext>
              </a:extLst>
            </p:cNvPr>
            <p:cNvSpPr txBox="1"/>
            <p:nvPr/>
          </p:nvSpPr>
          <p:spPr>
            <a:xfrm>
              <a:off x="10495270" y="44938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5</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61103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23650" y="37529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752937"/>
              <a:ext cx="9525" cy="74087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flipH="1">
              <a:off x="11092325" y="5386361"/>
              <a:ext cx="2019" cy="7049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8676FBF9-BDAC-93AE-C017-D48FED29647F}"/>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35CDB73E-4AF8-289E-192A-CA7ACC77E200}"/>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DB79706-C098-C3F1-A778-EECADF63A525}"/>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8A6A7EAB-DBBA-DC05-5CCE-B11435288609}"/>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03487434-9256-D670-2699-4CB1E15EAA8E}"/>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3F741B37-2FBE-2652-23F8-B999BBA06880}"/>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6DE64118-A3C4-D9E4-160B-AF274E509D10}"/>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349420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D0DA678-4907-C857-5743-D22E08C6EC62}"/>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18081348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44</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78</cp:revision>
  <dcterms:created xsi:type="dcterms:W3CDTF">2022-07-04T13:32:28Z</dcterms:created>
  <dcterms:modified xsi:type="dcterms:W3CDTF">2023-03-03T23:51:41Z</dcterms:modified>
</cp:coreProperties>
</file>